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767676"/>
    <a:srgbClr val="0079C7"/>
    <a:srgbClr val="E5E5E5"/>
    <a:srgbClr val="8D8D8D"/>
    <a:srgbClr val="A8A8A8"/>
    <a:srgbClr val="5A5A5A"/>
    <a:srgbClr val="444444"/>
    <a:srgbClr val="2D327D"/>
    <a:srgbClr val="B7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E95E0F5B-14A1-4CC2-96E4-E4EB7D059E65}"/>
    <pc:docChg chg="modSld">
      <pc:chgData name="Weigel Stefan (PAR-EPS)" userId="fd3b2067-2981-4ad8-bf3a-d2e1004e4fa8" providerId="ADAL" clId="{E95E0F5B-14A1-4CC2-96E4-E4EB7D059E65}" dt="2024-02-28T07:30:24.468" v="18" actId="27918"/>
      <pc:docMkLst>
        <pc:docMk/>
      </pc:docMkLst>
      <pc:sldChg chg="modSp mod">
        <pc:chgData name="Weigel Stefan (PAR-EPS)" userId="fd3b2067-2981-4ad8-bf3a-d2e1004e4fa8" providerId="ADAL" clId="{E95E0F5B-14A1-4CC2-96E4-E4EB7D059E65}" dt="2024-02-28T07:30:24.468" v="18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E95E0F5B-14A1-4CC2-96E4-E4EB7D059E65}" dt="2024-02-28T07:29:12.958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E95E0F5B-14A1-4CC2-96E4-E4EB7D059E65}" dt="2024-02-28T07:29:17.799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E95E0F5B-14A1-4CC2-96E4-E4EB7D059E65}" dt="2024-02-28T07:29:58.467" v="12" actId="1038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C60018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4000</c:v>
                </c:pt>
                <c:pt idx="1">
                  <c:v>76000</c:v>
                </c:pt>
                <c:pt idx="2">
                  <c:v>78000</c:v>
                </c:pt>
                <c:pt idx="3">
                  <c:v>87000</c:v>
                </c:pt>
                <c:pt idx="4">
                  <c:v>114000</c:v>
                </c:pt>
                <c:pt idx="5">
                  <c:v>126000</c:v>
                </c:pt>
                <c:pt idx="6">
                  <c:v>131000</c:v>
                </c:pt>
                <c:pt idx="7">
                  <c:v>140000</c:v>
                </c:pt>
                <c:pt idx="8">
                  <c:v>144000</c:v>
                </c:pt>
                <c:pt idx="9">
                  <c:v>171000</c:v>
                </c:pt>
                <c:pt idx="10">
                  <c:v>297000</c:v>
                </c:pt>
                <c:pt idx="11">
                  <c:v>39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05A-4BFC-B039-8395A69970BE}"/>
              </c:ext>
            </c:extLst>
          </c:dPt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3:$H$14</c:f>
              <c:numCache>
                <c:formatCode>#,##0</c:formatCode>
                <c:ptCount val="12"/>
                <c:pt idx="0">
                  <c:v>69000</c:v>
                </c:pt>
                <c:pt idx="1">
                  <c:v>76000</c:v>
                </c:pt>
                <c:pt idx="2">
                  <c:v>82000</c:v>
                </c:pt>
                <c:pt idx="3">
                  <c:v>100000</c:v>
                </c:pt>
                <c:pt idx="4">
                  <c:v>117000</c:v>
                </c:pt>
                <c:pt idx="5">
                  <c:v>152000</c:v>
                </c:pt>
                <c:pt idx="6">
                  <c:v>128000</c:v>
                </c:pt>
                <c:pt idx="7">
                  <c:v>136000</c:v>
                </c:pt>
                <c:pt idx="8">
                  <c:v>167000</c:v>
                </c:pt>
                <c:pt idx="9">
                  <c:v>177000</c:v>
                </c:pt>
                <c:pt idx="10">
                  <c:v>330000</c:v>
                </c:pt>
                <c:pt idx="11">
                  <c:v>46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88340535936661169"/>
          <c:y val="0"/>
          <c:w val="8.7573685649527888E-2"/>
          <c:h val="7.6557908728647581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CH" dirty="0"/>
              <a:t>Usagers des gares.</a:t>
            </a: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495508" y="6102372"/>
            <a:ext cx="770463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fr-FR" sz="1000" kern="0" dirty="0">
                <a:solidFill>
                  <a:srgbClr val="444444"/>
                </a:solidFill>
              </a:rPr>
              <a:t>Usagers des gares: personnes voyageant à bord des trains ou des transports publics, clients des commerces situés dans la gare, passant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1169106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fr-FR" sz="1400" spc="30" dirty="0">
                <a:solidFill>
                  <a:schemeClr val="accent3"/>
                </a:solidFill>
              </a:rPr>
              <a:t>Nombre moyen de déplacements de personnes par jour ouvré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F807D86-70C3-4BA1-A806-0D74E76C91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sagers des gare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agers des gares.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4-02-28T09:3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